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4" r:id="rId7"/>
    <p:sldId id="263" r:id="rId8"/>
    <p:sldId id="262" r:id="rId9"/>
    <p:sldId id="269" r:id="rId10"/>
    <p:sldId id="265" r:id="rId11"/>
    <p:sldId id="266" r:id="rId12"/>
    <p:sldId id="270" r:id="rId13"/>
    <p:sldId id="267" r:id="rId14"/>
    <p:sldId id="268" r:id="rId15"/>
    <p:sldId id="275" r:id="rId16"/>
    <p:sldId id="274" r:id="rId17"/>
    <p:sldId id="276" r:id="rId18"/>
    <p:sldId id="277" r:id="rId19"/>
    <p:sldId id="278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29"/>
    <p:restoredTop sz="94674"/>
  </p:normalViewPr>
  <p:slideViewPr>
    <p:cSldViewPr snapToGrid="0" snapToObjects="1">
      <p:cViewPr varScale="1">
        <p:scale>
          <a:sx n="124" d="100"/>
          <a:sy n="124" d="100"/>
        </p:scale>
        <p:origin x="79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7A245-5903-5241-A680-7CBD81E477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07E009-2F5F-E348-8DE7-A329AA6066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6DAE5A-40F3-6743-AE35-469A7072C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48E8B4-7F53-5F4F-8420-D73934BC5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CC6C44-B1B7-974D-ACFF-E2BDBA6D7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6382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69CAC-E564-9949-84A4-88E815817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0FF48E-EF2F-994F-B76D-7A6AE5E0E7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8E025D-536A-1443-B514-E5164FBC54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D4DEF1-48C7-7241-B233-F02DC997C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10E600-AFED-004D-89A7-2F2E679E9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224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00EA560-818E-834F-8814-D129D35DC9A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D83DE4-EB82-1840-BAB2-C13A4C69CB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6B44A-92C1-994E-AB5E-8B23D1DBE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0247B-4651-C342-A39F-A26E724CF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AF7319-2153-E54C-B798-5DE1A63C7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878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3C120-7392-D549-8EB2-1A25AA61A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EDBC27-F4CF-DC45-80B0-D63930DCC0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3E8983-B083-D548-ACCF-C6F116F9D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3CAFDB-99D9-CF4A-9310-9F1C0454E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9E67BC-7FCD-8440-AD6E-71A4BE1C8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333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167C03-9222-DF41-BEFE-5D22CF934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DD69BB-C157-4C4E-9DCE-72C091CF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3A4CD9-2EF3-8643-9DDC-DA78119249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96F1B0-5CB3-F548-86CB-85CEE3696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C2971D-ECD7-2840-A81F-3C847FC6A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039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4A972-9FBA-B841-BA1F-78BCC8999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BF114A-F781-3640-8C3D-022580250C6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E24B64-61CE-C24B-9C2E-9495515360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EF9E0E-ECD2-E446-9DB1-C9D906C849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CCDE33-6901-B84B-9B1F-D89875B6A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EEAF09-E470-544D-B721-57C13BB6F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4042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483E1-820B-C447-A82A-31ABFE34B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3F5609-0D93-CD49-9510-501AE9606A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8B00C7-EEDB-CD40-9E2B-B7358BA41F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58E57C-25A3-094E-AFAE-78869D1B62B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986956-E218-874A-A409-473B8989CC3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07BD647-9C89-6E45-B37F-D790EE87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6EE4C5-297D-7F45-94BA-0F39EF9DB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127E8E6-31B2-EF4B-A16C-79C4AB13E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304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FB60C1-6D6D-D241-A84C-109D3CF112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A08D7D-EE3C-BF4E-9B07-2EBC05238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B1A4D6-CE9C-414C-AD71-50CF88505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243DC1-EB22-BE45-B038-3B9CEBE04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7976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18C641-6D6A-6C43-8537-6006ED754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854800-0C70-F64C-905D-FEF57ACBE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9A7E6D-B7DE-1246-954E-9954AE9C6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4556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E9E92D-7D16-5944-A7DB-40FB94796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D8C90B-D897-C34E-AF8B-7CB90F16AB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61F66E-09FF-9F45-A41B-7993F2FAD9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C09832-6EB2-3F4E-955A-9C03D48558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77641A-B769-0043-9010-0355B47B5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06145E-5CF5-1843-922C-4974D2974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7623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9D1A60-48CE-9C44-9F05-CBEE8918C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63C9D3-BD62-7D44-AFE9-CA94162265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650B56-0D3F-3C4B-AAEF-3705C841AF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C8CA3E-85FD-034F-A9B4-0EDE437CB2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3B1AB1-B391-8C41-BF0F-CC7A73C0A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8E88FF-6159-1047-8066-975CD17462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2204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D1B2F1-41ED-4F46-88FF-80E27D684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495C2C-19BE-5147-9AE9-4CD56109E1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2BC846-09A1-264E-8490-B2854CE8F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345861-D55D-474E-9556-02D0C67DF6B3}" type="datetimeFigureOut">
              <a:rPr lang="en-US" smtClean="0"/>
              <a:t>6/21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58F269-CF55-F14E-A849-A772251922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F85E36-5FC6-A54C-AE10-0FD76CC2AB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FC941A-4AB7-0642-94DD-8B9E05AD24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471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nodejs.org/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chaijs.com/api/bdd/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ockobjects.com/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mochajs.org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B79BC-FD01-B44C-9CFD-93226C5D4D5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err="1">
                <a:ea typeface="宋体" panose="02010600030101010101" pitchFamily="2" charset="-122"/>
              </a:rPr>
              <a:t>Javascript</a:t>
            </a:r>
            <a:r>
              <a:rPr lang="en-US" altLang="zh-CN" dirty="0">
                <a:ea typeface="宋体" panose="02010600030101010101" pitchFamily="2" charset="-122"/>
              </a:rPr>
              <a:t> Quality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E22A75-3F76-7C47-B6B6-9CA35FE9725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uang, Sammy</a:t>
            </a:r>
          </a:p>
        </p:txBody>
      </p:sp>
    </p:spTree>
    <p:extLst>
      <p:ext uri="{BB962C8B-B14F-4D97-AF65-F5344CB8AC3E}">
        <p14:creationId xmlns:p14="http://schemas.microsoft.com/office/powerpoint/2010/main" val="80318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0A420-CD66-F74E-96C9-7CBBF4087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HA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CE3398-CDDC-214E-8B53-149076719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hai is a BDD / TDD assertion library for </a:t>
            </a:r>
            <a:r>
              <a:rPr lang="en-US" dirty="0">
                <a:hlinkClick r:id="rId2"/>
              </a:rPr>
              <a:t>node</a:t>
            </a:r>
            <a:r>
              <a:rPr lang="en-US" dirty="0"/>
              <a:t> and the browser that can be delightfully paired with any </a:t>
            </a:r>
            <a:r>
              <a:rPr lang="en-US" dirty="0" err="1"/>
              <a:t>javascript</a:t>
            </a:r>
            <a:r>
              <a:rPr lang="en-US" dirty="0"/>
              <a:t> testing framework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ttp://</a:t>
            </a:r>
            <a:r>
              <a:rPr lang="en-US" dirty="0" err="1"/>
              <a:t>www.chaijs.com</a:t>
            </a:r>
            <a:r>
              <a:rPr lang="en-US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8242932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0A420-CD66-F74E-96C9-7CBBF4087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ssertion Styl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CE3398-CDDC-214E-8B53-149076719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Assert</a:t>
            </a:r>
          </a:p>
          <a:p>
            <a:r>
              <a:rPr lang="en-US" b="1" dirty="0"/>
              <a:t>Expect</a:t>
            </a:r>
          </a:p>
          <a:p>
            <a:r>
              <a:rPr lang="en-US" b="1" dirty="0"/>
              <a:t>Should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AA19401-9318-1342-AA82-6A0B6EE23A50}"/>
              </a:ext>
            </a:extLst>
          </p:cNvPr>
          <p:cNvSpPr txBox="1">
            <a:spLocks/>
          </p:cNvSpPr>
          <p:nvPr/>
        </p:nvSpPr>
        <p:spPr>
          <a:xfrm>
            <a:off x="651553" y="365271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 err="1"/>
              <a:t>var</a:t>
            </a:r>
            <a:r>
              <a:rPr lang="en-US" b="1" dirty="0"/>
              <a:t> </a:t>
            </a:r>
            <a:r>
              <a:rPr lang="en-US" dirty="0"/>
              <a:t>foo </a:t>
            </a:r>
            <a:r>
              <a:rPr lang="en-US" b="1" dirty="0"/>
              <a:t>=</a:t>
            </a:r>
            <a:r>
              <a:rPr lang="en-US" dirty="0"/>
              <a:t> 'bar’</a:t>
            </a:r>
          </a:p>
          <a:p>
            <a:pPr marL="0" indent="0">
              <a:buNone/>
            </a:pPr>
            <a:r>
              <a:rPr lang="en-US" dirty="0" err="1"/>
              <a:t>assert.equal</a:t>
            </a:r>
            <a:r>
              <a:rPr lang="en-US" dirty="0"/>
              <a:t>(foo, 'bar’)</a:t>
            </a:r>
          </a:p>
          <a:p>
            <a:pPr marL="0" indent="0">
              <a:buNone/>
            </a:pPr>
            <a:r>
              <a:rPr lang="en-US" dirty="0"/>
              <a:t>expect(foo).</a:t>
            </a:r>
            <a:r>
              <a:rPr lang="en-US" dirty="0" err="1"/>
              <a:t>to.equal</a:t>
            </a:r>
            <a:r>
              <a:rPr lang="en-US" dirty="0"/>
              <a:t>('bar’);</a:t>
            </a:r>
          </a:p>
          <a:p>
            <a:pPr marL="0" indent="0">
              <a:buNone/>
            </a:pPr>
            <a:r>
              <a:rPr lang="en-US" dirty="0" err="1"/>
              <a:t>foo.should.equal</a:t>
            </a:r>
            <a:r>
              <a:rPr lang="en-US" dirty="0"/>
              <a:t>('bar');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65834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0A420-CD66-F74E-96C9-7CBBF4087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Refer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CE3398-CDDC-214E-8B53-149076719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xpect(2).</a:t>
            </a:r>
            <a:r>
              <a:rPr lang="en-US" dirty="0" err="1"/>
              <a:t>to.equal</a:t>
            </a:r>
            <a:r>
              <a:rPr lang="en-US" dirty="0"/>
              <a:t>(2); </a:t>
            </a:r>
            <a:r>
              <a:rPr lang="en-US" i="1" dirty="0"/>
              <a:t>// Recommended</a:t>
            </a:r>
          </a:p>
          <a:p>
            <a:pPr marL="0" indent="0">
              <a:buNone/>
            </a:pPr>
            <a:r>
              <a:rPr lang="en-US" dirty="0"/>
              <a:t>expect('</a:t>
            </a:r>
            <a:r>
              <a:rPr lang="en-US" dirty="0" err="1"/>
              <a:t>foobar</a:t>
            </a:r>
            <a:r>
              <a:rPr lang="en-US" dirty="0"/>
              <a:t>').</a:t>
            </a:r>
            <a:r>
              <a:rPr lang="en-US" dirty="0" err="1"/>
              <a:t>to.include</a:t>
            </a:r>
            <a:r>
              <a:rPr lang="en-US" dirty="0"/>
              <a:t>('foo’);</a:t>
            </a:r>
          </a:p>
          <a:p>
            <a:pPr marL="0" indent="0">
              <a:buNone/>
            </a:pPr>
            <a:r>
              <a:rPr lang="en-US" dirty="0"/>
              <a:t>expect(</a:t>
            </a:r>
            <a:r>
              <a:rPr lang="en-US" b="1" dirty="0"/>
              <a:t>true</a:t>
            </a:r>
            <a:r>
              <a:rPr lang="en-US" dirty="0"/>
              <a:t>).</a:t>
            </a:r>
            <a:r>
              <a:rPr lang="en-US" dirty="0" err="1"/>
              <a:t>to.be.</a:t>
            </a:r>
            <a:r>
              <a:rPr lang="en-US" b="1" dirty="0" err="1"/>
              <a:t>true</a:t>
            </a:r>
            <a:r>
              <a:rPr lang="en-US" dirty="0"/>
              <a:t>; </a:t>
            </a:r>
            <a:r>
              <a:rPr lang="en-US" i="1" dirty="0"/>
              <a:t>// Recommended</a:t>
            </a:r>
          </a:p>
          <a:p>
            <a:pPr marL="0" indent="0">
              <a:buNone/>
            </a:pPr>
            <a:r>
              <a:rPr lang="en-US" dirty="0"/>
              <a:t>expect([]).</a:t>
            </a:r>
            <a:r>
              <a:rPr lang="en-US" dirty="0" err="1"/>
              <a:t>to.be.empty</a:t>
            </a:r>
            <a:r>
              <a:rPr lang="en-US" dirty="0"/>
              <a:t>;</a:t>
            </a:r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http://www.chaijs.com/api/bdd/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224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0A420-CD66-F74E-96C9-7CBBF4087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anose="02010600030101010101" pitchFamily="2" charset="-122"/>
              </a:rPr>
              <a:t>Design a better test cas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CE3398-CDDC-214E-8B53-149076719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br>
              <a:rPr lang="en-US" dirty="0"/>
            </a:br>
            <a:endParaRPr lang="en-US" dirty="0"/>
          </a:p>
        </p:txBody>
      </p:sp>
      <p:pic>
        <p:nvPicPr>
          <p:cNvPr id="4" name="Picture 4" descr="think+before+you+act">
            <a:extLst>
              <a:ext uri="{FF2B5EF4-FFF2-40B4-BE49-F238E27FC236}">
                <a16:creationId xmlns:a16="http://schemas.microsoft.com/office/drawing/2014/main" id="{08A28C75-96A4-5245-B78B-BFA8C04319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388349"/>
            <a:ext cx="3810000" cy="287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12F505E-C727-5B47-94FF-5157EC3CB26F}"/>
              </a:ext>
            </a:extLst>
          </p:cNvPr>
          <p:cNvSpPr txBox="1"/>
          <p:nvPr/>
        </p:nvSpPr>
        <p:spPr>
          <a:xfrm>
            <a:off x="838200" y="4403011"/>
            <a:ext cx="58319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accent2"/>
                </a:solidFill>
                <a:ea typeface="宋体" panose="02010600030101010101" pitchFamily="2" charset="-122"/>
              </a:rPr>
              <a:t>Consider real world scenarios</a:t>
            </a:r>
          </a:p>
          <a:p>
            <a:r>
              <a:rPr lang="en-US" altLang="zh-CN" dirty="0">
                <a:solidFill>
                  <a:schemeClr val="accent2"/>
                </a:solidFill>
                <a:ea typeface="宋体" panose="02010600030101010101" pitchFamily="2" charset="-122"/>
              </a:rPr>
              <a:t>Test with not only normal case but also </a:t>
            </a:r>
            <a:r>
              <a:rPr lang="en-US" altLang="en-US" dirty="0">
                <a:solidFill>
                  <a:schemeClr val="accent2"/>
                </a:solidFill>
              </a:rPr>
              <a:t>boundary conditions</a:t>
            </a:r>
            <a:endParaRPr lang="en-US" altLang="zh-CN" dirty="0">
              <a:solidFill>
                <a:schemeClr val="accent2"/>
              </a:solidFill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524807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0A420-CD66-F74E-96C9-7CBBF4087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Best Practic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CE3398-CDDC-214E-8B53-149076719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AutoShape 6">
            <a:extLst>
              <a:ext uri="{FF2B5EF4-FFF2-40B4-BE49-F238E27FC236}">
                <a16:creationId xmlns:a16="http://schemas.microsoft.com/office/drawing/2014/main" id="{7F109C16-657B-DF44-8FDC-C269355287A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8200" y="2531268"/>
            <a:ext cx="7181850" cy="1216025"/>
          </a:xfrm>
          <a:prstGeom prst="roundRect">
            <a:avLst>
              <a:gd name="adj" fmla="val 6199"/>
            </a:avLst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36000" tIns="36000" rIns="36000" bIns="36000"/>
          <a:lstStyle>
            <a:lvl1pPr marL="90488" indent="-90488"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en-US" sz="2000" b="1"/>
              <a:t>Don't assume the order in which tests within a test case run (which means one test should not relay on the other test case), use static suite method when </a:t>
            </a:r>
            <a:r>
              <a:rPr lang="en-US" altLang="zh-CN" sz="2000" b="1">
                <a:ea typeface="宋体" panose="02010600030101010101" pitchFamily="2" charset="-122"/>
              </a:rPr>
              <a:t>needed</a:t>
            </a:r>
            <a:endParaRPr lang="en-US" altLang="en-US" sz="2000" b="1"/>
          </a:p>
        </p:txBody>
      </p:sp>
      <p:sp>
        <p:nvSpPr>
          <p:cNvPr id="6" name="AutoShape 6">
            <a:extLst>
              <a:ext uri="{FF2B5EF4-FFF2-40B4-BE49-F238E27FC236}">
                <a16:creationId xmlns:a16="http://schemas.microsoft.com/office/drawing/2014/main" id="{04CA0F16-C256-5C49-ADFD-59E6748C88F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8200" y="4060031"/>
            <a:ext cx="7181850" cy="855662"/>
          </a:xfrm>
          <a:prstGeom prst="roundRect">
            <a:avLst>
              <a:gd name="adj" fmla="val 6199"/>
            </a:avLst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36000" tIns="36000" rIns="36000" bIns="36000"/>
          <a:lstStyle>
            <a:lvl1pPr marL="90488" indent="-90488"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000" b="1" dirty="0"/>
              <a:t>Avoid writing test cases with side effects</a:t>
            </a:r>
            <a:r>
              <a:rPr lang="en-US" altLang="zh-CN" sz="2000" b="1" dirty="0">
                <a:ea typeface="宋体" panose="02010600030101010101" pitchFamily="2" charset="-122"/>
              </a:rPr>
              <a:t> and keep </a:t>
            </a:r>
            <a:r>
              <a:rPr lang="en-US" altLang="en-US" sz="2000" b="1" dirty="0"/>
              <a:t>independent</a:t>
            </a:r>
          </a:p>
        </p:txBody>
      </p:sp>
      <p:sp>
        <p:nvSpPr>
          <p:cNvPr id="7" name="AutoShape 6">
            <a:extLst>
              <a:ext uri="{FF2B5EF4-FFF2-40B4-BE49-F238E27FC236}">
                <a16:creationId xmlns:a16="http://schemas.microsoft.com/office/drawing/2014/main" id="{7CBC07AB-7647-C24C-B6C6-48448E1B93B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38200" y="5276056"/>
            <a:ext cx="7181850" cy="674687"/>
          </a:xfrm>
          <a:prstGeom prst="roundRect">
            <a:avLst>
              <a:gd name="adj" fmla="val 6199"/>
            </a:avLst>
          </a:prstGeom>
          <a:solidFill>
            <a:schemeClr val="bg1"/>
          </a:solidFill>
          <a:ln w="635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36000" tIns="36000" rIns="36000" bIns="36000"/>
          <a:lstStyle>
            <a:lvl1pPr marL="90488" indent="-90488"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000" b="1"/>
              <a:t>Keep tests small and fast</a:t>
            </a:r>
          </a:p>
        </p:txBody>
      </p:sp>
    </p:spTree>
    <p:extLst>
      <p:ext uri="{BB962C8B-B14F-4D97-AF65-F5344CB8AC3E}">
        <p14:creationId xmlns:p14="http://schemas.microsoft.com/office/powerpoint/2010/main" val="29162649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B3D852F-8F67-514B-8F40-A7CB26A70C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INON</a:t>
            </a:r>
            <a:r>
              <a:rPr lang="en-US" altLang="zh-CN" dirty="0">
                <a:ea typeface="宋体" panose="02010600030101010101" pitchFamily="2" charset="-122"/>
              </a:rPr>
              <a:t> Tutoria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C1C8F4-1CBF-674A-831E-43907DC8381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3940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38569-EF52-5244-86CB-6EFAE2DF5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</a:t>
            </a:r>
            <a:r>
              <a:rPr lang="en-US" dirty="0" err="1"/>
              <a:t>sin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1198D4-1CBB-7640-BE9C-99777F356A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inon</a:t>
            </a:r>
            <a:r>
              <a:rPr lang="en-US" altLang="zh-CN" dirty="0">
                <a:ea typeface="宋体" panose="02010600030101010101" pitchFamily="2" charset="-122"/>
              </a:rPr>
              <a:t> is a mocking framework </a:t>
            </a:r>
            <a:r>
              <a:rPr lang="en-US" altLang="en-US" dirty="0"/>
              <a:t>that supports </a:t>
            </a:r>
            <a:r>
              <a:rPr lang="en-US" altLang="zh-CN" dirty="0">
                <a:ea typeface="宋体" panose="02010600030101010101" pitchFamily="2" charset="-122"/>
              </a:rPr>
              <a:t>unit test  against JavaScript code </a:t>
            </a:r>
            <a:r>
              <a:rPr lang="en-US" altLang="en-US" dirty="0"/>
              <a:t>with </a:t>
            </a:r>
            <a:r>
              <a:rPr lang="en-US" altLang="en-US" u="sng" dirty="0">
                <a:hlinkClick r:id="rId2"/>
              </a:rPr>
              <a:t>mock objects</a:t>
            </a:r>
            <a:endParaRPr lang="en-US" altLang="en-US" dirty="0"/>
          </a:p>
          <a:p>
            <a:r>
              <a:rPr lang="en-US" dirty="0" err="1"/>
              <a:t>Sinon</a:t>
            </a:r>
            <a:r>
              <a:rPr lang="en-US" altLang="zh-CN" dirty="0">
                <a:ea typeface="宋体" panose="02010600030101010101" pitchFamily="2" charset="-122"/>
              </a:rPr>
              <a:t> objects can simulate the behavior of complex, real objects</a:t>
            </a:r>
            <a:endParaRPr lang="en-US" alt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5129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B3D852F-8F67-514B-8F40-A7CB26A70C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sv-SE" altLang="zh-CN" dirty="0">
                <a:solidFill>
                  <a:srgbClr val="2E4275"/>
                </a:solidFill>
                <a:latin typeface="Ericsson Capital TT" panose="02000503000000020004" pitchFamily="2" charset="0"/>
                <a:ea typeface="宋体" panose="02010600030101010101" pitchFamily="2" charset="-122"/>
              </a:rPr>
              <a:t>Java </a:t>
            </a:r>
            <a:r>
              <a:rPr lang="sv-SE" altLang="zh-CN" dirty="0" err="1">
                <a:solidFill>
                  <a:srgbClr val="2E4275"/>
                </a:solidFill>
                <a:latin typeface="Ericsson Capital TT" panose="02000503000000020004" pitchFamily="2" charset="0"/>
                <a:ea typeface="宋体" panose="02010600030101010101" pitchFamily="2" charset="-122"/>
              </a:rPr>
              <a:t>codecoverage</a:t>
            </a:r>
            <a:endParaRPr lang="sv-SE" altLang="en-US" dirty="0">
              <a:solidFill>
                <a:srgbClr val="2E4275"/>
              </a:solidFill>
              <a:latin typeface="Ericsson Capital TT" panose="0200050300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C1C8F4-1CBF-674A-831E-43907DC8381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6068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38569-EF52-5244-86CB-6EFAE2DF5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anose="02010600030101010101" pitchFamily="2" charset="-122"/>
              </a:rPr>
              <a:t>What is code coverag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1198D4-1CBB-7640-BE9C-99777F356A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altLang="en-US" dirty="0"/>
          </a:p>
          <a:p>
            <a:r>
              <a:rPr lang="en-US" altLang="en-US" dirty="0"/>
              <a:t>Outlines how thoroughly your tests exercise your code base</a:t>
            </a:r>
          </a:p>
          <a:p>
            <a:r>
              <a:rPr lang="en-US" altLang="en-US" dirty="0"/>
              <a:t>Code coverage is an indirect measure of quality</a:t>
            </a:r>
          </a:p>
          <a:p>
            <a:r>
              <a:rPr lang="en-US" altLang="en-US" dirty="0"/>
              <a:t>Code coverage can be classified as white-box testing because code coverage helps to identify paths in your program that are not getting tested</a:t>
            </a:r>
          </a:p>
          <a:p>
            <a:endParaRPr lang="en-US" alt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9941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38569-EF52-5244-86CB-6EFAE2DF5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b="1" dirty="0"/>
              <a:t>Why is it usefu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1198D4-1CBB-7640-BE9C-99777F356A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Coverage analysis assures the quality of your set of tests, not the quality of the actual product </a:t>
            </a:r>
          </a:p>
          <a:p>
            <a:r>
              <a:rPr lang="en-US" altLang="en-US" dirty="0"/>
              <a:t>Code coverage helps to identify paths in your program that are not getting tested</a:t>
            </a:r>
          </a:p>
          <a:p>
            <a:r>
              <a:rPr lang="en-US" altLang="en-US" dirty="0"/>
              <a:t>Useful when testing logic-intensive applications with a lot of decision points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078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19B9B-FA4D-5540-B2FE-EA8358B49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anose="02010600030101010101" pitchFamily="2" charset="-122"/>
              </a:rPr>
              <a:t>Agend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FB0D69-D5B0-234C-8D85-B1C2655031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dirty="0">
                <a:ea typeface="宋体" panose="02010600030101010101" pitchFamily="2" charset="-122"/>
              </a:rPr>
              <a:t>Mocha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>
                <a:ea typeface="宋体" panose="02010600030101010101" pitchFamily="2" charset="-122"/>
              </a:rPr>
              <a:t>Assert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err="1">
                <a:ea typeface="宋体" panose="02010600030101010101" pitchFamily="2" charset="-122"/>
              </a:rPr>
              <a:t>Javascript</a:t>
            </a:r>
            <a:r>
              <a:rPr lang="en-US" altLang="zh-CN" dirty="0">
                <a:ea typeface="宋体" panose="02010600030101010101" pitchFamily="2" charset="-122"/>
              </a:rPr>
              <a:t> Mock in test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err="1">
                <a:ea typeface="宋体" panose="02010600030101010101" pitchFamily="2" charset="-122"/>
              </a:rPr>
              <a:t>Javascript</a:t>
            </a:r>
            <a:r>
              <a:rPr lang="en-US" altLang="zh-CN" dirty="0">
                <a:ea typeface="宋体" panose="02010600030101010101" pitchFamily="2" charset="-122"/>
              </a:rPr>
              <a:t> code coverag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8850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B3D852F-8F67-514B-8F40-A7CB26A70C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>
                <a:ea typeface="宋体" panose="02010600030101010101" pitchFamily="2" charset="-122"/>
              </a:rPr>
              <a:t>Mocha Tutoria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C1C8F4-1CBF-674A-831E-43907DC8381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4126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2F419-7BAE-2F4A-BC9A-306A48788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MOCH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59293D-B8A0-E943-9F11-B7F71CE503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Mocha is an open source unit testing framework for automatically unit testing </a:t>
            </a:r>
            <a:r>
              <a:rPr lang="en-US" altLang="en-US" dirty="0" err="1"/>
              <a:t>Javascript</a:t>
            </a:r>
            <a:r>
              <a:rPr lang="en-US" altLang="en-US" dirty="0"/>
              <a:t> programs. </a:t>
            </a:r>
            <a:endParaRPr lang="en-US" altLang="zh-CN" dirty="0">
              <a:ea typeface="宋体" panose="02010600030101010101" pitchFamily="2" charset="-122"/>
            </a:endParaRPr>
          </a:p>
          <a:p>
            <a:endParaRPr lang="en-US" altLang="zh-CN" dirty="0">
              <a:ea typeface="宋体" panose="02010600030101010101" pitchFamily="2" charset="-122"/>
            </a:endParaRPr>
          </a:p>
          <a:p>
            <a:r>
              <a:rPr lang="en-US" altLang="en-US" dirty="0"/>
              <a:t>Mocha provides functionality for writing and running unit test cases for a project under development, and is helpful when doing Test-Driven Development (TDD). </a:t>
            </a:r>
            <a:endParaRPr lang="en-US" altLang="zh-CN" dirty="0">
              <a:ea typeface="宋体" panose="02010600030101010101" pitchFamily="2" charset="-122"/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dirty="0">
                <a:ea typeface="宋体" panose="02010600030101010101" pitchFamily="2" charset="-122"/>
              </a:rPr>
              <a:t>Web site: </a:t>
            </a:r>
            <a:r>
              <a:rPr lang="en-US" altLang="en-US" dirty="0">
                <a:hlinkClick r:id="rId2"/>
              </a:rPr>
              <a:t>https://mochajs.org/</a:t>
            </a:r>
            <a:endParaRPr lang="en-US" alt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9170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BA06E-0C4D-B941-90E5-E296541D8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anose="02010600030101010101" pitchFamily="2" charset="-122"/>
              </a:rPr>
              <a:t>What is TD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339120-DD71-FE4F-AC27-481E563494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7674"/>
            <a:ext cx="10515600" cy="4351338"/>
          </a:xfrm>
        </p:spPr>
        <p:txBody>
          <a:bodyPr/>
          <a:lstStyle/>
          <a:p>
            <a:r>
              <a:rPr lang="en-US" altLang="en-US" dirty="0"/>
              <a:t>Test-driven development (TDD) is a software development process</a:t>
            </a:r>
            <a:endParaRPr lang="en-US" altLang="zh-CN" dirty="0">
              <a:ea typeface="宋体" panose="02010600030101010101" pitchFamily="2" charset="-122"/>
            </a:endParaRPr>
          </a:p>
          <a:p>
            <a:pPr lvl="1"/>
            <a:r>
              <a:rPr lang="en-US" altLang="zh-CN" dirty="0">
                <a:ea typeface="宋体" panose="02010600030101010101" pitchFamily="2" charset="-122"/>
              </a:rPr>
              <a:t>F</a:t>
            </a:r>
            <a:r>
              <a:rPr lang="en-US" altLang="en-US" dirty="0"/>
              <a:t>irst the developer writes a failing automated test case</a:t>
            </a:r>
            <a:endParaRPr lang="en-US" altLang="zh-CN" dirty="0">
              <a:ea typeface="宋体" panose="02010600030101010101" pitchFamily="2" charset="-122"/>
            </a:endParaRPr>
          </a:p>
          <a:p>
            <a:pPr lvl="1"/>
            <a:r>
              <a:rPr lang="en-US" altLang="zh-CN" dirty="0">
                <a:ea typeface="宋体" panose="02010600030101010101" pitchFamily="2" charset="-122"/>
              </a:rPr>
              <a:t>And then p</a:t>
            </a:r>
            <a:r>
              <a:rPr lang="en-US" altLang="en-US" dirty="0"/>
              <a:t>roduces code to pass that tes</a:t>
            </a:r>
            <a:r>
              <a:rPr lang="en-US" altLang="zh-CN" dirty="0">
                <a:ea typeface="宋体" panose="02010600030101010101" pitchFamily="2" charset="-122"/>
              </a:rPr>
              <a:t>t</a:t>
            </a:r>
          </a:p>
          <a:p>
            <a:pPr lvl="1"/>
            <a:r>
              <a:rPr lang="en-US" altLang="zh-CN" dirty="0">
                <a:ea typeface="宋体" panose="02010600030101010101" pitchFamily="2" charset="-122"/>
              </a:rPr>
              <a:t>Finally refactors the new code to acceptable standards</a:t>
            </a:r>
          </a:p>
          <a:p>
            <a:endParaRPr lang="en-US" dirty="0"/>
          </a:p>
        </p:txBody>
      </p:sp>
      <p:pic>
        <p:nvPicPr>
          <p:cNvPr id="4" name="Picture 4" descr="Test-driven_development">
            <a:extLst>
              <a:ext uri="{FF2B5EF4-FFF2-40B4-BE49-F238E27FC236}">
                <a16:creationId xmlns:a16="http://schemas.microsoft.com/office/drawing/2014/main" id="{B29FD01C-BA97-D44B-B583-8F71F7BE8C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1419" y="3243299"/>
            <a:ext cx="7021513" cy="346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4524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4B14D-AA12-5F4C-8173-0B4733F30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E18FEED-2B2A-7D4F-86A3-3CBE6D69447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84637" y="0"/>
            <a:ext cx="8038122" cy="676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9146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2BF8B-6E2E-E44B-BA9A-BEB4C6BE0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cap="all" dirty="0"/>
            </a:br>
            <a:r>
              <a:rPr lang="en-US" cap="all" dirty="0"/>
              <a:t>HOOKS</a:t>
            </a:r>
            <a:br>
              <a:rPr lang="en-US" cap="all" dirty="0"/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CE13F7D-9222-AF44-9EE3-1454E6DFAD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690688"/>
            <a:ext cx="7467509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7129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12E85C-90C1-1947-AE22-9A3DF51F11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anose="02010600030101010101" pitchFamily="2" charset="-122"/>
              </a:rPr>
              <a:t>How to write a test cas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79035E-B2B2-8E4D-987F-525C8C6AA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405027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Example</a:t>
            </a:r>
          </a:p>
          <a:p>
            <a:pPr>
              <a:buFont typeface="Wingdings" pitchFamily="2" charset="2"/>
              <a:buChar char="Ø"/>
            </a:pPr>
            <a:r>
              <a:rPr lang="en-US" sz="1800" dirty="0"/>
              <a:t>The class to be tested</a:t>
            </a:r>
          </a:p>
          <a:p>
            <a:pPr>
              <a:buFont typeface="Wingdings" pitchFamily="2" charset="2"/>
              <a:buChar char="Ø"/>
            </a:pPr>
            <a:endParaRPr lang="en-US" sz="1800" dirty="0"/>
          </a:p>
          <a:p>
            <a:pPr>
              <a:buFont typeface="Wingdings" pitchFamily="2" charset="2"/>
              <a:buChar char="Ø"/>
            </a:pPr>
            <a:endParaRPr lang="en-US" sz="1800" dirty="0"/>
          </a:p>
          <a:p>
            <a:pPr>
              <a:buFont typeface="Wingdings" pitchFamily="2" charset="2"/>
              <a:buChar char="Ø"/>
            </a:pPr>
            <a:endParaRPr lang="en-US" sz="1800" dirty="0"/>
          </a:p>
          <a:p>
            <a:pPr>
              <a:buFont typeface="Wingdings" pitchFamily="2" charset="2"/>
              <a:buChar char="Ø"/>
            </a:pPr>
            <a:endParaRPr lang="en-US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E9C1CA-BCC5-634C-91DA-1B6C34562E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0398" y="2792816"/>
            <a:ext cx="5611687" cy="338414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025C9F1-0408-F84C-B75F-02E147CB49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6627" y="2792816"/>
            <a:ext cx="3276600" cy="185420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BC1B232-5AFD-B145-A7A0-51AFFB836D73}"/>
              </a:ext>
            </a:extLst>
          </p:cNvPr>
          <p:cNvSpPr txBox="1">
            <a:spLocks/>
          </p:cNvSpPr>
          <p:nvPr/>
        </p:nvSpPr>
        <p:spPr>
          <a:xfrm>
            <a:off x="6096000" y="1690688"/>
            <a:ext cx="340502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Ø"/>
            </a:pPr>
            <a:endParaRPr lang="en-US" sz="1800" dirty="0"/>
          </a:p>
          <a:p>
            <a:pPr>
              <a:buFont typeface="Wingdings" pitchFamily="2" charset="2"/>
              <a:buChar char="Ø"/>
            </a:pPr>
            <a:r>
              <a:rPr lang="en-US" sz="1800" dirty="0"/>
              <a:t>Test case</a:t>
            </a:r>
          </a:p>
        </p:txBody>
      </p:sp>
    </p:spTree>
    <p:extLst>
      <p:ext uri="{BB962C8B-B14F-4D97-AF65-F5344CB8AC3E}">
        <p14:creationId xmlns:p14="http://schemas.microsoft.com/office/powerpoint/2010/main" val="9873369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B3D852F-8F67-514B-8F40-A7CB26A70C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HAI</a:t>
            </a:r>
            <a:r>
              <a:rPr lang="en-US" altLang="zh-CN" dirty="0">
                <a:ea typeface="宋体" panose="02010600030101010101" pitchFamily="2" charset="-122"/>
              </a:rPr>
              <a:t> Tutoria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C1C8F4-1CBF-674A-831E-43907DC8381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0593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NbsZ48mkK81_3_mN3g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NbsZ48mkK81_3_mN3g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NbsZ48mkK81_3_mN3gq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</TotalTime>
  <Words>401</Words>
  <Application>Microsoft Macintosh PowerPoint</Application>
  <PresentationFormat>Widescreen</PresentationFormat>
  <Paragraphs>68</Paragraphs>
  <Slides>1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宋体</vt:lpstr>
      <vt:lpstr>Arial</vt:lpstr>
      <vt:lpstr>Calibri</vt:lpstr>
      <vt:lpstr>Calibri Light</vt:lpstr>
      <vt:lpstr>Ericsson Capital TT</vt:lpstr>
      <vt:lpstr>Wingdings</vt:lpstr>
      <vt:lpstr>Office Theme</vt:lpstr>
      <vt:lpstr>Javascript Quality</vt:lpstr>
      <vt:lpstr>Agenda</vt:lpstr>
      <vt:lpstr>Mocha Tutorial</vt:lpstr>
      <vt:lpstr>WHAT IS MOCHA</vt:lpstr>
      <vt:lpstr>What is TDD</vt:lpstr>
      <vt:lpstr>PowerPoint Presentation</vt:lpstr>
      <vt:lpstr> HOOKS </vt:lpstr>
      <vt:lpstr>How to write a test case</vt:lpstr>
      <vt:lpstr>CHAI Tutorial</vt:lpstr>
      <vt:lpstr>WHAT IS CHAI</vt:lpstr>
      <vt:lpstr>Assertion Styles</vt:lpstr>
      <vt:lpstr>API Reference</vt:lpstr>
      <vt:lpstr>Design a better test case</vt:lpstr>
      <vt:lpstr>Best Practices</vt:lpstr>
      <vt:lpstr>SINON Tutorial</vt:lpstr>
      <vt:lpstr>What is sinon</vt:lpstr>
      <vt:lpstr>Java codecoverage</vt:lpstr>
      <vt:lpstr>What is code coverage</vt:lpstr>
      <vt:lpstr>Why is it useful</vt:lpstr>
    </vt:vector>
  </TitlesOfParts>
  <Company/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ang, Liang (Sammy)</dc:creator>
  <cp:lastModifiedBy>Huang, Liang (Sammy)</cp:lastModifiedBy>
  <cp:revision>11</cp:revision>
  <dcterms:created xsi:type="dcterms:W3CDTF">2018-06-21T09:30:05Z</dcterms:created>
  <dcterms:modified xsi:type="dcterms:W3CDTF">2018-06-21T10:29:38Z</dcterms:modified>
</cp:coreProperties>
</file>